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67" r:id="rId3"/>
    <p:sldId id="369" r:id="rId4"/>
    <p:sldId id="370" r:id="rId5"/>
    <p:sldId id="368" r:id="rId6"/>
  </p:sldIdLst>
  <p:sldSz cx="12192000" cy="6858000"/>
  <p:notesSz cx="6858000" cy="9144000"/>
  <p:embeddedFontLs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Rubik" panose="00000500000000000000" pitchFamily="50" charset="-79"/>
      <p:regular r:id="rId12"/>
      <p:bold r:id="rId13"/>
      <p:italic r:id="rId14"/>
    </p:embeddedFont>
    <p:embeddedFont>
      <p:font typeface="Trebuchet MS" panose="020B060302020202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 varScale="1">
        <p:scale>
          <a:sx n="83" d="100"/>
          <a:sy n="83" d="100"/>
        </p:scale>
        <p:origin x="686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BAF474D-C48B-47A3-AD43-776B973A4A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BeaconstacProvider</a:t>
            </a:r>
            <a:endParaRPr lang="en-US" dirty="0"/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Priya Bhaga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aconstac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US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aconstac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r>
              <a:rPr lang="en-IN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aconsta</a:t>
            </a: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s a modern QR Code platform.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nnect your physical-digital worlds, collect first-party data &amp; drive engagement - with an easy-to-use QR Code platform built for modern businesses. It provides QR code management services for an organization.</a:t>
            </a:r>
            <a:endParaRPr lang="en-IN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00A30E-56D3-4B3A-8CDB-4EC8BF085B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dirty="0" err="1"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BeaconstacServices.services:countObject</a:t>
            </a:r>
            <a:r>
              <a:rPr lang="en-IN" sz="1800" dirty="0"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(GET)</a:t>
            </a:r>
          </a:p>
          <a:p>
            <a:endParaRPr lang="en-IN" dirty="0"/>
          </a:p>
        </p:txBody>
      </p:sp>
      <p:pic>
        <p:nvPicPr>
          <p:cNvPr id="9" name="Picture 8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A7B49360-BF81-4DB3-ADB5-B6B8BE534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2348880"/>
            <a:ext cx="5731510" cy="322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81E9D-118C-4A6C-9D0B-65C29C6D2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E699BE-4809-4768-8A9C-03A392208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A8CE4A-DAE9-451E-B5EB-0FB2740CB0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E9B966-C0F3-436E-86D6-4B7E1D63D01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Content Placeholder 6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340A5282-3511-433B-A1B0-55BB6BEC9997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555250" y="1353017"/>
            <a:ext cx="6660183" cy="466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170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68</Words>
  <Application>Microsoft Office PowerPoint</Application>
  <PresentationFormat>Widescreen</PresentationFormat>
  <Paragraphs>22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Wingdings</vt:lpstr>
      <vt:lpstr>Symbol</vt:lpstr>
      <vt:lpstr>Rubik</vt:lpstr>
      <vt:lpstr>Trebuchet MS</vt:lpstr>
      <vt:lpstr>Calibri</vt:lpstr>
      <vt:lpstr>Software AG 2021</vt:lpstr>
      <vt:lpstr>BeaconstacProvider</vt:lpstr>
      <vt:lpstr>Beaconstac</vt:lpstr>
      <vt:lpstr>Screenshots for workflow</vt:lpstr>
      <vt:lpstr>PowerPoint Presentation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hagat, Priya</cp:lastModifiedBy>
  <cp:revision>5</cp:revision>
  <dcterms:created xsi:type="dcterms:W3CDTF">2022-01-10T12:32:13Z</dcterms:created>
  <dcterms:modified xsi:type="dcterms:W3CDTF">2022-02-02T10:47:23Z</dcterms:modified>
</cp:coreProperties>
</file>